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71" r:id="rId11"/>
    <p:sldId id="270" r:id="rId12"/>
    <p:sldId id="269" r:id="rId13"/>
    <p:sldId id="268" r:id="rId14"/>
    <p:sldId id="266" r:id="rId15"/>
    <p:sldId id="267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1" r:id="rId36"/>
    <p:sldId id="292" r:id="rId37"/>
    <p:sldId id="293" r:id="rId38"/>
    <p:sldId id="294" r:id="rId39"/>
    <p:sldId id="295" r:id="rId40"/>
    <p:sldId id="296" r:id="rId41"/>
    <p:sldId id="297" r:id="rId42"/>
    <p:sldId id="298" r:id="rId43"/>
    <p:sldId id="299" r:id="rId44"/>
    <p:sldId id="300" r:id="rId45"/>
    <p:sldId id="301" r:id="rId46"/>
    <p:sldId id="302" r:id="rId47"/>
    <p:sldId id="303" r:id="rId48"/>
    <p:sldId id="304" r:id="rId49"/>
    <p:sldId id="305" r:id="rId50"/>
    <p:sldId id="306" r:id="rId51"/>
    <p:sldId id="307" r:id="rId52"/>
  </p:sldIdLst>
  <p:sldSz cx="12192000" cy="6858000"/>
  <p:notesSz cx="6858000" cy="9144000"/>
  <p:embeddedFontLst>
    <p:embeddedFont>
      <p:font typeface="Liebherr Head Office" panose="020B0504030000000000" pitchFamily="34" charset="0"/>
      <p:regular r:id="rId53"/>
      <p:bold r:id="rId54"/>
    </p:embeddedFont>
    <p:embeddedFont>
      <p:font typeface="Liebherr Text Office" panose="020B0604030000000000" pitchFamily="34" charset="0"/>
      <p:regular r:id="rId55"/>
      <p:bold r:id="rId56"/>
      <p:italic r:id="rId57"/>
      <p:boldItalic r:id="rId58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2142" y="1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font" Target="fonts/font3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font" Target="fonts/font2.fntdata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1.fntdata"/><Relationship Id="rId58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5.fntdata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4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551D1851-8423-44F6-8645-603F69E093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606140 h 6858000"/>
              <a:gd name="connsiteX4" fmla="*/ 550863 w 12191999"/>
              <a:gd name="connsiteY4" fmla="*/ 4617132 h 6858000"/>
              <a:gd name="connsiteX5" fmla="*/ 550863 w 12191999"/>
              <a:gd name="connsiteY5" fmla="*/ 4725208 h 6858000"/>
              <a:gd name="connsiteX6" fmla="*/ 550863 w 12191999"/>
              <a:gd name="connsiteY6" fmla="*/ 4869120 h 6858000"/>
              <a:gd name="connsiteX7" fmla="*/ 550863 w 12191999"/>
              <a:gd name="connsiteY7" fmla="*/ 4977132 h 6858000"/>
              <a:gd name="connsiteX8" fmla="*/ 550863 w 12191999"/>
              <a:gd name="connsiteY8" fmla="*/ 5085208 h 6858000"/>
              <a:gd name="connsiteX9" fmla="*/ 4151784 w 12191999"/>
              <a:gd name="connsiteY9" fmla="*/ 5085208 h 6858000"/>
              <a:gd name="connsiteX10" fmla="*/ 4151784 w 12191999"/>
              <a:gd name="connsiteY10" fmla="*/ 4977132 h 6858000"/>
              <a:gd name="connsiteX11" fmla="*/ 4151784 w 12191999"/>
              <a:gd name="connsiteY11" fmla="*/ 4869120 h 6858000"/>
              <a:gd name="connsiteX12" fmla="*/ 4151784 w 12191999"/>
              <a:gd name="connsiteY12" fmla="*/ 4725208 h 6858000"/>
              <a:gd name="connsiteX13" fmla="*/ 4151784 w 12191999"/>
              <a:gd name="connsiteY13" fmla="*/ 4617132 h 6858000"/>
              <a:gd name="connsiteX14" fmla="*/ 4151784 w 12191999"/>
              <a:gd name="connsiteY14" fmla="*/ 4606140 h 6858000"/>
              <a:gd name="connsiteX15" fmla="*/ 4151784 w 12191999"/>
              <a:gd name="connsiteY15" fmla="*/ 4509120 h 6858000"/>
              <a:gd name="connsiteX16" fmla="*/ 4151784 w 12191999"/>
              <a:gd name="connsiteY16" fmla="*/ 0 h 6858000"/>
              <a:gd name="connsiteX17" fmla="*/ 4330863 w 12191999"/>
              <a:gd name="connsiteY17" fmla="*/ 0 h 6858000"/>
              <a:gd name="connsiteX18" fmla="*/ 4547828 w 12191999"/>
              <a:gd name="connsiteY18" fmla="*/ 0 h 6858000"/>
              <a:gd name="connsiteX19" fmla="*/ 12191999 w 12191999"/>
              <a:gd name="connsiteY19" fmla="*/ 0 h 6858000"/>
              <a:gd name="connsiteX20" fmla="*/ 12191999 w 12191999"/>
              <a:gd name="connsiteY20" fmla="*/ 6858000 h 6858000"/>
              <a:gd name="connsiteX21" fmla="*/ 0 w 12191999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606140"/>
                </a:lnTo>
                <a:lnTo>
                  <a:pt x="550863" y="4617132"/>
                </a:lnTo>
                <a:lnTo>
                  <a:pt x="550863" y="4725208"/>
                </a:lnTo>
                <a:lnTo>
                  <a:pt x="550863" y="4869120"/>
                </a:lnTo>
                <a:lnTo>
                  <a:pt x="550863" y="4977132"/>
                </a:lnTo>
                <a:lnTo>
                  <a:pt x="550863" y="5085208"/>
                </a:lnTo>
                <a:lnTo>
                  <a:pt x="4151784" y="5085208"/>
                </a:lnTo>
                <a:lnTo>
                  <a:pt x="4151784" y="4977132"/>
                </a:lnTo>
                <a:lnTo>
                  <a:pt x="4151784" y="4869120"/>
                </a:lnTo>
                <a:lnTo>
                  <a:pt x="4151784" y="4725208"/>
                </a:lnTo>
                <a:lnTo>
                  <a:pt x="4151784" y="4617132"/>
                </a:lnTo>
                <a:lnTo>
                  <a:pt x="4151784" y="460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306896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tabLst>
                <a:tab pos="539750" algn="l"/>
              </a:tabLst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B8E6657-82D9-4935-820B-4853D3E4091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E5B9212E-CC80-4F0C-8B38-B034D7B4D967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1235A4D-A2DD-4370-8FC0-750738F672A2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:p15="http://schemas.microsoft.com/office/powerpoint/2012/main" xmlns:p14="http://schemas.microsoft.com/office/powerpoint/2010/main" xmlns:a16="http://schemas.microsoft.com/office/drawing/2014/main" xmlns="" r:embed="rId3"/>
              </a:ext>
            </a:extLst>
          </a:blip>
          <a:stretch>
            <a:fillRect/>
          </a:stretch>
        </p:blipFill>
        <p:spPr bwMode="gray">
          <a:xfrm>
            <a:off x="911424" y="4383208"/>
            <a:ext cx="2757844" cy="342000"/>
          </a:xfrm>
          <a:prstGeom prst="rect">
            <a:avLst/>
          </a:prstGeom>
        </p:spPr>
      </p:pic>
      <p:sp>
        <p:nvSpPr>
          <p:cNvPr id="19" name="Rechteck 20">
            <a:extLst>
              <a:ext uri="{FF2B5EF4-FFF2-40B4-BE49-F238E27FC236}">
                <a16:creationId xmlns:a16="http://schemas.microsoft.com/office/drawing/2014/main" id="{9EEFE572-F828-46CA-A28C-1196B1865547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868BCD0C-153E-4D1B-996E-F4B48ACD14C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88220F6A-2C25-4947-A7FB-9176464A5244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50" name="Gerader Verbinder 14">
            <a:extLst>
              <a:ext uri="{FF2B5EF4-FFF2-40B4-BE49-F238E27FC236}">
                <a16:creationId xmlns:a16="http://schemas.microsoft.com/office/drawing/2014/main" id="{33246CFF-8490-4ED3-B46B-1E37E08F8054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18">
            <a:extLst>
              <a:ext uri="{FF2B5EF4-FFF2-40B4-BE49-F238E27FC236}">
                <a16:creationId xmlns:a16="http://schemas.microsoft.com/office/drawing/2014/main" id="{AECC7761-7EEA-4C3F-88F3-D248543FF85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39B2FC89-9339-429F-99FC-5403F4FD397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A6DCAE55-5F1C-4A76-AE72-D00E6C7ED37B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</p:spTree>
    <p:extLst>
      <p:ext uri="{BB962C8B-B14F-4D97-AF65-F5344CB8AC3E}">
        <p14:creationId xmlns:p14="http://schemas.microsoft.com/office/powerpoint/2010/main" val="3451475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1998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383414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920398F-608C-4E9A-A962-C789F8CAD936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EE6F541E-FDE4-4021-A5E0-92AA2FC9255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ADAF01F1-7676-4B08-A6DC-CC79EC0C809C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6" name="Gerader Verbinder 12">
            <a:extLst>
              <a:ext uri="{FF2B5EF4-FFF2-40B4-BE49-F238E27FC236}">
                <a16:creationId xmlns:a16="http://schemas.microsoft.com/office/drawing/2014/main" id="{1A66BD8A-2C75-4575-A42A-E60E3F7C0349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19">
            <a:extLst>
              <a:ext uri="{FF2B5EF4-FFF2-40B4-BE49-F238E27FC236}">
                <a16:creationId xmlns:a16="http://schemas.microsoft.com/office/drawing/2014/main" id="{A0B5B5B2-CF97-4B1F-A61A-4353A08B901C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15ECDA21-885A-4299-848A-AE2DACEC0E58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6033256A-F4D9-4753-AD38-A2AC20769B70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A4EB8CD-0854-492B-AC88-422513905781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6DCFA8A3-82B5-4567-AD8E-E441C34F5C5E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3988BE6-FEB8-4270-9C11-C18CF09E1365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1660138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329408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FC0DA16-E980-4478-8335-C35AF5D8CE3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81060731-A68A-478F-B9CC-99E3634FE75C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64EBEF6F-F3A4-4189-9F29-69A5EBA48F4F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C4EA61C3-C28D-486D-842C-578F5CE3C16F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4E38E64F-8840-4BC3-A0CE-7949976A18F1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A9931707-5B1B-487C-8ED1-6A4E1A69766E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54E78015-2840-4B8C-A3CB-1D7864BE017F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123C9883-7B43-4B83-8414-5B524ACD8E89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58EF46B1-D4D8-4969-A0E9-61CEC0E0A434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4095774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ithout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320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320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slide with no descriptor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0" name="Graphic 1">
            <a:extLst>
              <a:ext uri="{FF2B5EF4-FFF2-40B4-BE49-F238E27FC236}">
                <a16:creationId xmlns:a16="http://schemas.microsoft.com/office/drawing/2014/main" id="{87C183A4-B489-4003-BE7D-87C657B5D0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5967320"/>
            <a:ext cx="2757844" cy="342000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56EB98-34C0-4C77-B059-0012A5049E3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5D58A984-7945-4DBB-B4FB-1A9A5695E13D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F0519844-BBB1-4AE8-93F8-E4289065B35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D5F8EA94-1ADB-40C7-A151-1FEFFBDBEC0E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317A42EB-679F-4EF9-9374-F492B43A57A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0C37F9FF-2FC3-436D-B06A-D5E865A25271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8B42A78-E8F3-45EF-A357-474B924AC47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5646B120-5E77-4B0D-84BC-8123D8039A78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EE31B1A-3866-4A44-B2FB-58BA8FCE7B01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23698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521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11161712" cy="4393084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/>
              <a:t>07/12/202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187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808"/>
            <a:ext cx="5256000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/>
              <a:t>07/12/202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542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331311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4511675" y="1700213"/>
            <a:ext cx="3240088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9544FC9-C9D6-4239-8296-640261EE192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8C3F81-3DA9-417F-B383-C39461A27DA9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8E7BAEC6-F654-43B8-8F51-68D99B8E8B91}" type="datetime1">
              <a:rPr lang="en-GB"/>
              <a:t>07/12/2021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BB0AB1D-1530-429B-BDA2-F7D4DEFC4E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58617-66A6-4B52-A0EF-C41431BC2C1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3554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>
          <p15:clr>
            <a:srgbClr val="FBAE40"/>
          </p15:clr>
        </p15:guide>
        <p15:guide id="2" pos="2842">
          <p15:clr>
            <a:srgbClr val="FBAE40"/>
          </p15:clr>
        </p15:guide>
        <p15:guide id="4" pos="4883">
          <p15:clr>
            <a:srgbClr val="FBAE40"/>
          </p15:clr>
        </p15:guide>
        <p15:guide id="5" pos="5292">
          <p15:clr>
            <a:srgbClr val="FBAE40"/>
          </p15:clr>
        </p15:guide>
        <p15:guide id="6" pos="347">
          <p15:clr>
            <a:srgbClr val="FBAE40"/>
          </p15:clr>
        </p15:guide>
        <p15:guide id="7" pos="7378">
          <p15:clr>
            <a:srgbClr val="FBAE40"/>
          </p15:clr>
        </p15:guide>
        <p15:guide id="8" orient="horz" pos="1071">
          <p15:clr>
            <a:srgbClr val="FBAE40"/>
          </p15:clr>
        </p15:guide>
        <p15:guide id="9" orient="horz" pos="383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|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820896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9409113" y="1700213"/>
            <a:ext cx="230346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B695-9309-41C3-A54D-DBADCB24CF02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FD86D325-28AB-44A5-8090-8B5681E04BF1}" type="datetime1">
              <a:rPr lang="en-GB"/>
              <a:t>07/12/202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5F3838-9EB3-46AA-A748-61B210B2CF0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61A24B-9F74-4760-B16B-CF31DF7EF2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7603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18">
          <p15:clr>
            <a:srgbClr val="FBAE40"/>
          </p15:clr>
        </p15:guide>
        <p15:guide id="5" pos="5927">
          <p15:clr>
            <a:srgbClr val="FBAE40"/>
          </p15:clr>
        </p15:guide>
        <p15:guide id="6" pos="347">
          <p15:clr>
            <a:srgbClr val="FBAE40"/>
          </p15:clr>
        </p15:guide>
        <p15:guide id="7" pos="7378">
          <p15:clr>
            <a:srgbClr val="FBAE40"/>
          </p15:clr>
        </p15:guide>
        <p15:guide id="8" orient="horz" pos="1071">
          <p15:clr>
            <a:srgbClr val="FBAE40"/>
          </p15:clr>
        </p15:guide>
        <p15:guide id="9" orient="horz" pos="383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07/12/2021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12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/>
              <a:t>07/12/2021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0503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5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6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E4581962-0EC4-4E57-B916-54AF97FDFCC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93759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2">
          <p15:clr>
            <a:srgbClr val="FBAE40"/>
          </p15:clr>
        </p15:guide>
        <p15:guide id="2" pos="3250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93">
            <a:extLst>
              <a:ext uri="{FF2B5EF4-FFF2-40B4-BE49-F238E27FC236}">
                <a16:creationId xmlns:a16="http://schemas.microsoft.com/office/drawing/2014/main" id="{B455819A-3D61-44FB-A7D1-A1E77ECB7F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536140 h 6858000"/>
              <a:gd name="connsiteX4" fmla="*/ 4151784 w 12191999"/>
              <a:gd name="connsiteY4" fmla="*/ 4536140 h 6858000"/>
              <a:gd name="connsiteX5" fmla="*/ 4151784 w 12191999"/>
              <a:gd name="connsiteY5" fmla="*/ 4509120 h 6858000"/>
              <a:gd name="connsiteX6" fmla="*/ 4151784 w 12191999"/>
              <a:gd name="connsiteY6" fmla="*/ 0 h 6858000"/>
              <a:gd name="connsiteX7" fmla="*/ 4330863 w 12191999"/>
              <a:gd name="connsiteY7" fmla="*/ 0 h 6858000"/>
              <a:gd name="connsiteX8" fmla="*/ 4547828 w 12191999"/>
              <a:gd name="connsiteY8" fmla="*/ 0 h 6858000"/>
              <a:gd name="connsiteX9" fmla="*/ 12191999 w 12191999"/>
              <a:gd name="connsiteY9" fmla="*/ 0 h 6858000"/>
              <a:gd name="connsiteX10" fmla="*/ 12191999 w 12191999"/>
              <a:gd name="connsiteY10" fmla="*/ 6858000 h 6858000"/>
              <a:gd name="connsiteX11" fmla="*/ 0 w 12191999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536140"/>
                </a:lnTo>
                <a:lnTo>
                  <a:pt x="4151784" y="453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517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3834140"/>
            <a:ext cx="2757844" cy="342000"/>
          </a:xfrm>
          <a:prstGeom prst="rect">
            <a:avLst/>
          </a:prstGeom>
        </p:spPr>
      </p:pic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7CB1ED08-BEDD-42D9-8A43-DD6B13F347A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ACB584E6-1753-4525-BE98-BBD5BDAA5B0D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A16BD126-400D-4679-B2D1-BA92303858F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8">
            <a:extLst>
              <a:ext uri="{FF2B5EF4-FFF2-40B4-BE49-F238E27FC236}">
                <a16:creationId xmlns:a16="http://schemas.microsoft.com/office/drawing/2014/main" id="{F116D5E8-AD1B-402F-98C0-893A3EA4862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60B0DC1-1D77-4F78-9C20-4B697E687BA9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AD34ED2E-8A54-454A-8224-F0FAE7DBBECA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964A7FD-1CF5-47D8-8665-1ABDD9D34665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F29A1511-B754-4E4E-8F33-023984719615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192760C-AA5A-4509-8176-4F9844E4DEBD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7D62AF86-2D36-48BC-B705-529789F83E74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59114344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wo Pictures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3501384"/>
            <a:ext cx="4511675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6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B3937D4-4CFC-45D2-8A4D-225125F1DFC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50381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2">
          <p15:clr>
            <a:srgbClr val="FBAE40"/>
          </p15:clr>
        </p15:guide>
        <p15:guide id="2" pos="3250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1" y="0"/>
            <a:ext cx="58074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55999" y="620736"/>
            <a:ext cx="5256575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455998" y="255981"/>
            <a:ext cx="5256576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6BEF655A-6A6E-4F01-BE72-332B71C21671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146136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7751764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01051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401050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AE4D5920-C7CF-4106-B99D-D9166440C0E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893214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2" pos="5292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64917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20" name="Medienplatzhalter 10">
            <a:extLst>
              <a:ext uri="{FF2B5EF4-FFF2-40B4-BE49-F238E27FC236}">
                <a16:creationId xmlns:a16="http://schemas.microsoft.com/office/drawing/2014/main" id="{3B93AEA6-84FE-4845-9865-CC0E25C674A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58469D32-81D6-4056-A82D-4A0354528E4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1443B-2724-462F-B38C-8C201848BC2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07/12/202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B939CC-E2CA-470B-A1A9-B7B51056D65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D95066-DE61-4C95-9830-58249D68E0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677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3" pos="4475">
          <p15:clr>
            <a:srgbClr val="FBAE40"/>
          </p15:clr>
        </p15:guide>
        <p15:guide id="4" pos="347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wo Pictures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751762" y="3501384"/>
            <a:ext cx="4440237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40237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2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16186E1-4BE3-4668-A421-03B03529ED88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1809D4F8-81B8-4E9E-800B-ED091A164DC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FE9B53-7631-40D1-A6B9-2DCB7C62500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BF76663-E215-40A1-B199-579C8AB47B20}" type="datetime1">
              <a:rPr lang="en-GB"/>
              <a:t>07/12/202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ACD66D-BFC0-403A-ADC9-0513FF25E16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78FF61-BE26-4516-B08B-CA3B4CBDE5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11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2" pos="4475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4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456041" y="0"/>
            <a:ext cx="573596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5256573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4" y="1700213"/>
            <a:ext cx="5257096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525657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3" name="Medienplatzhalter 10">
            <a:extLst>
              <a:ext uri="{FF2B5EF4-FFF2-40B4-BE49-F238E27FC236}">
                <a16:creationId xmlns:a16="http://schemas.microsoft.com/office/drawing/2014/main" id="{E2A54F6B-7A43-444C-B9EC-A0AF8965DB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9FA071D6-560B-483D-A95A-8FCE1D91A4A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EA5576-7AEF-4A2B-AA83-9F5081D611C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07/12/202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AE47AB-C356-4E00-97CB-AB9CF1FAC36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3924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16A8CD-2AB7-40DF-8C33-1BB905AC76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7102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11675" y="0"/>
            <a:ext cx="76803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131C9908-645F-4008-B1A2-B73C354BA9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3" name="Rechteck 20">
            <a:extLst>
              <a:ext uri="{FF2B5EF4-FFF2-40B4-BE49-F238E27FC236}">
                <a16:creationId xmlns:a16="http://schemas.microsoft.com/office/drawing/2014/main" id="{D0E92D42-F5CE-4E09-85CD-1214570EB4C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4BC8F1-A1FF-4CC2-9008-51296BFBC0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07/12/202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166D36-23B6-42C4-9D19-790AB5B0332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16066D-FFDD-411C-8DE8-7C323232377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1034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>
          <p15:clr>
            <a:srgbClr val="FBAE40"/>
          </p15:clr>
        </p15:guide>
        <p15:guide id="2" pos="2842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1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Short Text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A4A7721-E96E-4225-91CC-3D91E9FEE0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7" name="Medienplatzhalter 10">
            <a:extLst>
              <a:ext uri="{FF2B5EF4-FFF2-40B4-BE49-F238E27FC236}">
                <a16:creationId xmlns:a16="http://schemas.microsoft.com/office/drawing/2014/main" id="{159801EE-1306-4BBD-B863-DD9BDE2F2ED3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0927972-9274-47DB-8AF3-0166BBB9007D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378279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Short Text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2E9145B-146A-4E92-A5DD-2AF8660E1E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3B261380-B4CD-433F-B472-327FDA58049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E2E1B5B3-F0AF-44E3-93F3-81F6532334D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247548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4" name="Medienplatzhalter 10">
            <a:extLst>
              <a:ext uri="{FF2B5EF4-FFF2-40B4-BE49-F238E27FC236}">
                <a16:creationId xmlns:a16="http://schemas.microsoft.com/office/drawing/2014/main" id="{CF2D8C8F-0BC8-4716-BC12-CB5F5BDD8B5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6" name="Rechteck 20">
            <a:extLst>
              <a:ext uri="{FF2B5EF4-FFF2-40B4-BE49-F238E27FC236}">
                <a16:creationId xmlns:a16="http://schemas.microsoft.com/office/drawing/2014/main" id="{9BF320BE-03E1-4CF3-999B-8CEB910750D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629933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93">
            <a:extLst>
              <a:ext uri="{FF2B5EF4-FFF2-40B4-BE49-F238E27FC236}">
                <a16:creationId xmlns:a16="http://schemas.microsoft.com/office/drawing/2014/main" id="{C2E74470-3CAC-4F1B-B535-131CDA56A6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996080 h 6858000"/>
              <a:gd name="connsiteX3" fmla="*/ 4151784 w 12191999"/>
              <a:gd name="connsiteY3" fmla="*/ 3996080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996080"/>
                </a:lnTo>
                <a:lnTo>
                  <a:pt x="4151784" y="399608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3294080"/>
            <a:ext cx="2757844" cy="342000"/>
          </a:xfrm>
          <a:prstGeom prst="rect">
            <a:avLst/>
          </a:prstGeom>
        </p:spPr>
      </p:pic>
      <p:cxnSp>
        <p:nvCxnSpPr>
          <p:cNvPr id="40" name="Gerader Verbinder 14">
            <a:extLst>
              <a:ext uri="{FF2B5EF4-FFF2-40B4-BE49-F238E27FC236}">
                <a16:creationId xmlns:a16="http://schemas.microsoft.com/office/drawing/2014/main" id="{36DF816C-E893-4E38-9231-BB4A1CF3CDE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8">
            <a:extLst>
              <a:ext uri="{FF2B5EF4-FFF2-40B4-BE49-F238E27FC236}">
                <a16:creationId xmlns:a16="http://schemas.microsoft.com/office/drawing/2014/main" id="{A001AB83-C409-4957-B7BE-4B1DDE801A1E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0" name="Gerader Verbinder 12">
            <a:extLst>
              <a:ext uri="{FF2B5EF4-FFF2-40B4-BE49-F238E27FC236}">
                <a16:creationId xmlns:a16="http://schemas.microsoft.com/office/drawing/2014/main" id="{2D6B89C2-0923-4257-B003-8ED88D5ED87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6E70A3C7-44D7-4EF0-96AA-D2D0BB919D38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3DD9DD0-1FAC-4F69-9675-E7CD9DB96F1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D85147A-8C79-4832-920E-DB1A9D524EF6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10DEA9E5-CDAD-4701-AC20-EB448B865A53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FC0FBE69-4238-4948-9203-DDC000494C41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5A6E938-6CFC-468F-A18A-72B5B52645AC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8" name="Rechteck 20">
            <a:extLst>
              <a:ext uri="{FF2B5EF4-FFF2-40B4-BE49-F238E27FC236}">
                <a16:creationId xmlns:a16="http://schemas.microsoft.com/office/drawing/2014/main" id="{ECEDC10B-9586-47AB-AAE0-3C2E8C1A1CE1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160266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0B2A4C7F-6EAA-4CCD-A310-B0B6BFB647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5" name="Rechteck 20">
            <a:extLst>
              <a:ext uri="{FF2B5EF4-FFF2-40B4-BE49-F238E27FC236}">
                <a16:creationId xmlns:a16="http://schemas.microsoft.com/office/drawing/2014/main" id="{3D9AC2EB-D272-43C7-B720-BC16972BDDA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20700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ovi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336EFCCF-A188-4EDC-8574-E1D11462BEAC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34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ovi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DF8247B5-BE22-49C6-9B3B-1353DC41CA2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835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5D8B497D-2AA9-46F4-826E-2F17BBA66348}"/>
              </a:ext>
            </a:extLst>
          </p:cNvPr>
          <p:cNvSpPr/>
          <p:nvPr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247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5" pos="3659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orient="horz" pos="34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Grey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1A0C0E0B-E95F-4F6F-8CE2-A7B037F99579}"/>
              </a:ext>
            </a:extLst>
          </p:cNvPr>
          <p:cNvSpPr/>
          <p:nvPr/>
        </p:nvSpPr>
        <p:spPr bwMode="gray">
          <a:xfrm>
            <a:off x="550863" y="1664804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206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659">
          <p15:clr>
            <a:srgbClr val="FBAE40"/>
          </p15:clr>
        </p15:guide>
        <p15:guide id="6" orient="horz" pos="34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32">
            <a:extLst>
              <a:ext uri="{FF2B5EF4-FFF2-40B4-BE49-F238E27FC236}">
                <a16:creationId xmlns:a16="http://schemas.microsoft.com/office/drawing/2014/main" id="{931A4AC6-21C7-497E-99BE-27B737BFA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2DD2473A-068F-4124-B2A1-D0D36BCA6D3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06245D7B-5B26-4314-A2A3-CF5C7ECD407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AA9CA24C-FC5E-4E75-91C0-E002F436C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CDA8AE58-66A8-4EFE-B3A8-C2BCA36A0AC2}"/>
              </a:ext>
            </a:extLst>
          </p:cNvPr>
          <p:cNvSpPr/>
          <p:nvPr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9" name="Gerader Verbinder 14">
            <a:extLst>
              <a:ext uri="{FF2B5EF4-FFF2-40B4-BE49-F238E27FC236}">
                <a16:creationId xmlns:a16="http://schemas.microsoft.com/office/drawing/2014/main" id="{F2B1C722-1DAB-4049-8438-A65E1F6E8BF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8">
            <a:extLst>
              <a:ext uri="{FF2B5EF4-FFF2-40B4-BE49-F238E27FC236}">
                <a16:creationId xmlns:a16="http://schemas.microsoft.com/office/drawing/2014/main" id="{3B82A232-9965-49DC-9AF7-3C27605EB2CE}"/>
              </a:ext>
            </a:extLst>
          </p:cNvPr>
          <p:cNvSpPr/>
          <p:nvPr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21" name="Gerader Verbinder 51">
            <a:extLst>
              <a:ext uri="{FF2B5EF4-FFF2-40B4-BE49-F238E27FC236}">
                <a16:creationId xmlns:a16="http://schemas.microsoft.com/office/drawing/2014/main" id="{9A490FF3-5166-4BA7-8E94-46F43A53B6EA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52">
            <a:extLst>
              <a:ext uri="{FF2B5EF4-FFF2-40B4-BE49-F238E27FC236}">
                <a16:creationId xmlns:a16="http://schemas.microsoft.com/office/drawing/2014/main" id="{5F99EA79-56EC-49E4-9573-6B38AB2D6233}"/>
              </a:ext>
            </a:extLst>
          </p:cNvPr>
          <p:cNvSpPr/>
          <p:nvPr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58355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32">
            <a:extLst>
              <a:ext uri="{FF2B5EF4-FFF2-40B4-BE49-F238E27FC236}">
                <a16:creationId xmlns:a16="http://schemas.microsoft.com/office/drawing/2014/main" id="{D37240FD-FBB7-4CE3-AD8C-502F91504A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584" cy="1728000"/>
          </a:xfrm>
          <a:noFill/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38A6776F-3133-4A65-BF0C-43B9BF71EA5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662DC8C3-C41D-4E69-96D8-A306131505C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9AEEC64-8B03-4196-B87F-7F808AE52F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5" name="Rechteck 16">
            <a:extLst>
              <a:ext uri="{FF2B5EF4-FFF2-40B4-BE49-F238E27FC236}">
                <a16:creationId xmlns:a16="http://schemas.microsoft.com/office/drawing/2014/main" id="{4B1C245E-AC74-45F6-A487-632D4955EE5A}"/>
              </a:ext>
            </a:extLst>
          </p:cNvPr>
          <p:cNvSpPr/>
          <p:nvPr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C391F2E5-3062-4B7C-BBCC-FF86A9C1989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EF7E0480-4BAC-45C0-AD22-D0AA76A329C6}"/>
              </a:ext>
            </a:extLst>
          </p:cNvPr>
          <p:cNvSpPr/>
          <p:nvPr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19" name="Gerader Verbinder 51">
            <a:extLst>
              <a:ext uri="{FF2B5EF4-FFF2-40B4-BE49-F238E27FC236}">
                <a16:creationId xmlns:a16="http://schemas.microsoft.com/office/drawing/2014/main" id="{DFB94555-EDB4-48D5-B57F-3CBA1154CD16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52">
            <a:extLst>
              <a:ext uri="{FF2B5EF4-FFF2-40B4-BE49-F238E27FC236}">
                <a16:creationId xmlns:a16="http://schemas.microsoft.com/office/drawing/2014/main" id="{B4B69D30-91CE-4E20-8C12-BAD411CF22BE}"/>
              </a:ext>
            </a:extLst>
          </p:cNvPr>
          <p:cNvSpPr/>
          <p:nvPr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3565616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Colour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C6FB3DFA-F6FA-4953-BD01-21454D52DC26}"/>
              </a:ext>
            </a:extLst>
          </p:cNvPr>
          <p:cNvSpPr/>
          <p:nvPr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3014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3" orient="horz" pos="346">
          <p15:clr>
            <a:srgbClr val="000000"/>
          </p15:clr>
        </p15:guide>
        <p15:guide id="4" orient="horz" pos="3838">
          <p15:clr>
            <a:srgbClr val="000000"/>
          </p15:clr>
        </p15:guide>
        <p15:guide id="5" pos="3659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Colour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E89B7075-87E7-454A-9458-E2B4218E35F4}"/>
              </a:ext>
            </a:extLst>
          </p:cNvPr>
          <p:cNvSpPr/>
          <p:nvPr/>
        </p:nvSpPr>
        <p:spPr bwMode="gray">
          <a:xfrm>
            <a:off x="550863" y="1655288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1708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3" orient="horz" pos="346">
          <p15:clr>
            <a:srgbClr val="000000"/>
          </p15:clr>
        </p15:guide>
        <p15:guide id="4" orient="horz" pos="3838">
          <p15:clr>
            <a:srgbClr val="000000"/>
          </p15:clr>
        </p15:guide>
        <p15:guide id="5" pos="3659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| Bar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07/12/2021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9AD6FB-CCF0-4AFA-98AC-63E6B6C0339B}"/>
              </a:ext>
            </a:extLst>
          </p:cNvPr>
          <p:cNvSpPr/>
          <p:nvPr/>
        </p:nvSpPr>
        <p:spPr bwMode="gray">
          <a:xfrm>
            <a:off x="550863" y="1091094"/>
            <a:ext cx="504000" cy="468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2068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2" pos="7378">
          <p15:clr>
            <a:srgbClr val="000000"/>
          </p15:clr>
        </p15:guide>
        <p15:guide id="3" orient="horz" pos="1071">
          <p15:clr>
            <a:srgbClr val="000000"/>
          </p15:clr>
        </p15:guide>
        <p15:guide id="4" orient="horz" pos="3838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D02B3C34-98AF-4178-BE4A-5F1061773E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455996 h 6858000"/>
              <a:gd name="connsiteX3" fmla="*/ 4151784 w 12191999"/>
              <a:gd name="connsiteY3" fmla="*/ 3455996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455996"/>
                </a:lnTo>
                <a:lnTo>
                  <a:pt x="4151784" y="3455996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AB9713DC-5CAF-411B-B206-47E9095CDD08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EF82307-893F-4B19-88D7-16DD90AF1835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2754020"/>
            <a:ext cx="2757844" cy="342000"/>
          </a:xfrm>
          <a:prstGeom prst="rect">
            <a:avLst/>
          </a:prstGeom>
        </p:spPr>
      </p:pic>
      <p:cxnSp>
        <p:nvCxnSpPr>
          <p:cNvPr id="33" name="Gerader Verbinder 12">
            <a:extLst>
              <a:ext uri="{FF2B5EF4-FFF2-40B4-BE49-F238E27FC236}">
                <a16:creationId xmlns:a16="http://schemas.microsoft.com/office/drawing/2014/main" id="{C62FEED5-0BAB-4A1B-AFFE-97DE4E39538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9">
            <a:extLst>
              <a:ext uri="{FF2B5EF4-FFF2-40B4-BE49-F238E27FC236}">
                <a16:creationId xmlns:a16="http://schemas.microsoft.com/office/drawing/2014/main" id="{79FADC43-CC12-4097-AB8E-FC3AB8F1FF44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536F5DE-2DFC-4C6F-8D08-1C02B1AC308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81098D61-C7A0-4E56-BB07-9F398C56EF7D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D93BEB48-A938-4D66-A8C6-40CFA5254E7D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1925B2AD-614C-41D5-831C-A7F24C529462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7C045B1-DDF2-4AF2-832A-F70A4D64D11B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6DC03926-5CC6-4581-99F3-D2C83A8DF0E5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923472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07/12/2021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388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2" pos="7378">
          <p15:clr>
            <a:srgbClr val="000000"/>
          </p15:clr>
        </p15:guide>
        <p15:guide id="3" orient="horz" pos="1071">
          <p15:clr>
            <a:srgbClr val="000000"/>
          </p15:clr>
        </p15:guide>
        <p15:guide id="4" orient="horz" pos="3838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/>
              <a:t>07/12/2021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172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000000"/>
          </p15:clr>
        </p15:guide>
        <p15:guide id="2" orient="horz" pos="3838">
          <p15:clr>
            <a:srgbClr val="000000"/>
          </p15:clr>
        </p15:guide>
        <p15:guide id="3" pos="347">
          <p15:clr>
            <a:srgbClr val="000000"/>
          </p15:clr>
        </p15:guide>
        <p15:guide id="4" pos="7378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01108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37" name="Gerader Verbinder 11">
            <a:extLst>
              <a:ext uri="{FF2B5EF4-FFF2-40B4-BE49-F238E27FC236}">
                <a16:creationId xmlns:a16="http://schemas.microsoft.com/office/drawing/2014/main" id="{54518DD7-5188-4639-ABA9-1CB135476C85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20">
            <a:extLst>
              <a:ext uri="{FF2B5EF4-FFF2-40B4-BE49-F238E27FC236}">
                <a16:creationId xmlns:a16="http://schemas.microsoft.com/office/drawing/2014/main" id="{D52ECA51-BBCB-431E-A9C8-81956E9EE5C6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FA8CEE6-D75D-4E5F-BFAF-3992FD2FD66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22" name="Gerader Verbinder 12">
            <a:extLst>
              <a:ext uri="{FF2B5EF4-FFF2-40B4-BE49-F238E27FC236}">
                <a16:creationId xmlns:a16="http://schemas.microsoft.com/office/drawing/2014/main" id="{0500CCA0-4BAC-4D17-914B-E45A7BC0575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9">
            <a:extLst>
              <a:ext uri="{FF2B5EF4-FFF2-40B4-BE49-F238E27FC236}">
                <a16:creationId xmlns:a16="http://schemas.microsoft.com/office/drawing/2014/main" id="{C77F2614-11CB-4382-BB63-7B25DFC6D6A8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24" name="Gerader Verbinder 14">
            <a:extLst>
              <a:ext uri="{FF2B5EF4-FFF2-40B4-BE49-F238E27FC236}">
                <a16:creationId xmlns:a16="http://schemas.microsoft.com/office/drawing/2014/main" id="{EEC6ED3B-CE86-4E41-9CA0-3DAA4D0C9324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8">
            <a:extLst>
              <a:ext uri="{FF2B5EF4-FFF2-40B4-BE49-F238E27FC236}">
                <a16:creationId xmlns:a16="http://schemas.microsoft.com/office/drawing/2014/main" id="{0779153E-3D2C-4D55-979B-A86ADC01F599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6" name="Gerader Verbinder 15">
            <a:extLst>
              <a:ext uri="{FF2B5EF4-FFF2-40B4-BE49-F238E27FC236}">
                <a16:creationId xmlns:a16="http://schemas.microsoft.com/office/drawing/2014/main" id="{4D121577-8C95-4822-BA32-EC7DB7A12DC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529ABFC4-9C9F-435D-8E20-75A3B090203B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</p:spTree>
    <p:extLst>
      <p:ext uri="{BB962C8B-B14F-4D97-AF65-F5344CB8AC3E}">
        <p14:creationId xmlns:p14="http://schemas.microsoft.com/office/powerpoint/2010/main" val="30334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573016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79389F0F-D5AC-4756-88BD-8F6242B3A753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03DF64FA-B545-4817-BB6E-8653C860BFD1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17" name="Gerader Verbinder 14">
            <a:extLst>
              <a:ext uri="{FF2B5EF4-FFF2-40B4-BE49-F238E27FC236}">
                <a16:creationId xmlns:a16="http://schemas.microsoft.com/office/drawing/2014/main" id="{FC9ECC6D-B2E8-49D3-8A06-BE4D2726BA01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4CE8007E-0B72-418C-B9AD-2282D5EEDF06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6948092-1FC7-4A80-BD2B-3970AA6EE422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57680B6C-0103-4BC7-8EDA-1524F4AD546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76B7E60-1EA1-4338-96FB-5D1E398DECA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863F49C-62EC-4576-8B01-799556079CA9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56E060-4430-4117-A0F9-2CCB555FA185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672160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60" y="2744924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52" name="Gerader Verbinder 14">
            <a:extLst>
              <a:ext uri="{FF2B5EF4-FFF2-40B4-BE49-F238E27FC236}">
                <a16:creationId xmlns:a16="http://schemas.microsoft.com/office/drawing/2014/main" id="{4FF9C5F9-E62C-467F-B2E7-A027CD8299A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18">
            <a:extLst>
              <a:ext uri="{FF2B5EF4-FFF2-40B4-BE49-F238E27FC236}">
                <a16:creationId xmlns:a16="http://schemas.microsoft.com/office/drawing/2014/main" id="{DEAA44B2-2267-45F7-A03F-CAA98D1B33E5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4" name="Gerader Verbinder 15">
            <a:extLst>
              <a:ext uri="{FF2B5EF4-FFF2-40B4-BE49-F238E27FC236}">
                <a16:creationId xmlns:a16="http://schemas.microsoft.com/office/drawing/2014/main" id="{805E448C-6AFC-4B3B-BCA6-9383AAACB8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7">
            <a:extLst>
              <a:ext uri="{FF2B5EF4-FFF2-40B4-BE49-F238E27FC236}">
                <a16:creationId xmlns:a16="http://schemas.microsoft.com/office/drawing/2014/main" id="{389B3694-72E9-4C32-9BD3-CCB0247CF6D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6" name="Gerader Verbinder 11">
            <a:extLst>
              <a:ext uri="{FF2B5EF4-FFF2-40B4-BE49-F238E27FC236}">
                <a16:creationId xmlns:a16="http://schemas.microsoft.com/office/drawing/2014/main" id="{BAC477BD-E5D8-4CF2-A698-779DF69ACCAB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0">
            <a:extLst>
              <a:ext uri="{FF2B5EF4-FFF2-40B4-BE49-F238E27FC236}">
                <a16:creationId xmlns:a16="http://schemas.microsoft.com/office/drawing/2014/main" id="{440B3356-4E07-4503-BD13-6F6DBAD217CB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8" name="Gerader Verbinder 12">
            <a:extLst>
              <a:ext uri="{FF2B5EF4-FFF2-40B4-BE49-F238E27FC236}">
                <a16:creationId xmlns:a16="http://schemas.microsoft.com/office/drawing/2014/main" id="{F698C8B9-EE6D-42DD-AF82-83201A6071B0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19">
            <a:extLst>
              <a:ext uri="{FF2B5EF4-FFF2-40B4-BE49-F238E27FC236}">
                <a16:creationId xmlns:a16="http://schemas.microsoft.com/office/drawing/2014/main" id="{8CEA59C0-F681-400B-9296-9F801BAFA679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14F6485-4E17-414F-9FB2-44C203B47FE9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2053958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1570059F-7F12-405F-8FDF-46BA4608EC9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5E55A513-2CB8-4835-86F3-30D79EFF516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08F6906A-BE5F-470A-9223-55F1ED0E50FF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330352E-697B-4E99-AFAE-5BA6154BF0F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E6199D89-2BB3-4380-8029-27F74B98A9A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64B8AB36-E37A-4227-A768-FEB35339C693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7E910D7C-1F8C-4AAA-8F05-D5514E13AD89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EBFB88B7-040D-4F4B-8501-1F129D2CC986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3FE9A710-F07E-4D08-BFDB-B7972C139833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6E60700-659C-4E7C-8CC8-7365EAD3A95B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9C8DCB17-9775-4A4A-912E-BE35DA87212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541513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52" y="3609020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B2AD923-4F75-43F3-982B-08C76FF86C0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A59DFA89-244B-4539-ADD4-39EA971CDAAF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F132613A-60A9-4273-A44B-5E3546595E3D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0DABC18-AAC4-4B0B-A4B7-E01D799A3694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BE3BE41-A601-4905-81AC-A4702FCE298D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CC150D5-D2C5-4516-B221-82DA8CBFEA5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C8E37A-AFCF-4F8A-A9B2-A0467B1EA00B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5CF5F2EA-A6F5-4780-B773-1E1AC802A9D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86175ACF-42C4-4254-88F6-91082CAA0685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35F6154-E29E-4CAE-A057-3F9201F9482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85639148-8845-417F-A935-378ABD1F1CB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84524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81693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C8D9BBC3-DF1E-4301-B052-080ECEAD932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9FEA1639-35B4-4B7D-A7FA-8CEDCE8768A9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AB63D3C-9F84-48C2-8943-EF3D14425375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6F1ABBE-7E7D-4151-A7F2-A8D7CED494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67C48D8-28D2-4956-83F5-EDFBF3C47B9B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EBBAC2E-778A-4EE2-81DC-0BBDE1F7D04F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B14970C9-0317-4A5B-964C-F311BEAE9ADC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2F377406-C7CD-46D7-9C97-51A6E391755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56C6A31A-5099-4588-9EB3-DA71F76557DE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B2A308-9ED7-450A-B4E1-7691227D3728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336E5F7-8AA0-4A5B-AEA0-15A9C92CA45C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170064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E8F13117-B162-439B-B0F2-ED762123510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D447D365-01A0-4B34-A795-EE11A730A21C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609FA97B-005D-4B2C-9CCD-FCBB6EA1397D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F5F2D8D-2320-4E2D-AA9F-6FDF8EFD2015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ACFA7067-3EA5-4152-A67E-D3267BEAF46A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C5ECB209-0A9E-4223-BFDE-0F90BFBCEA6C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F859C506-B766-42AF-B924-1C8E1CC48E88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C6C1B001-7368-4F8E-B694-A884C925033B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6E2E3EBE-5542-4662-96B8-DBF85AE6C0A5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DC3A66A-1691-42AC-9220-54B6F00CECA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1ECA9BFE-C313-4ACF-A05E-AA5FCC4442A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462429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8" name="Medienplatzhalter 10">
            <a:extLst>
              <a:ext uri="{FF2B5EF4-FFF2-40B4-BE49-F238E27FC236}">
                <a16:creationId xmlns:a16="http://schemas.microsoft.com/office/drawing/2014/main" id="{3151BE65-66F1-438E-A22D-36C5F133FAA7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609020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10652B1F-7576-421B-8410-1B98586C5D12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7AED11FE-83C5-4F4B-AC39-17392EF30840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B80C75D-836E-4B70-8C8F-56B9CAC1412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BE4A474D-AB4A-47AE-A53F-82566ECFDEC8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80DD69D8-2BE6-409D-81C1-F253A10D1F1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B5E249-208C-40B1-BF2C-44E49845B894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1D26CDD2-E64E-4486-8177-18759F6D4641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BE07AD09-9E16-48E8-BCA3-67B0F58E6634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29B836-0EDF-4B91-8DDE-85E21C6B53E2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C868179-3A13-4B04-B53C-14D0CE80DF09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479979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803CB24-2B37-451B-A162-63984F0EBC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501588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5085184 h 6858000"/>
              <a:gd name="connsiteX8" fmla="*/ 11712574 w 12191999"/>
              <a:gd name="connsiteY8" fmla="*/ 508518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80526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5015880" y="0"/>
                </a:lnTo>
                <a:lnTo>
                  <a:pt x="8112222" y="0"/>
                </a:lnTo>
                <a:lnTo>
                  <a:pt x="8112222" y="5085184"/>
                </a:lnTo>
                <a:lnTo>
                  <a:pt x="11712574" y="508518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80526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66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62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6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664" y="4383208"/>
            <a:ext cx="2757844" cy="342000"/>
          </a:xfrm>
          <a:prstGeom prst="rect">
            <a:avLst/>
          </a:prstGeom>
        </p:spPr>
      </p:pic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44A21EE-495A-4218-8900-A12F32107E3A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EC4A95F7-8081-40C8-8AC5-5C33B7115462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DD2DD7B1-C9BA-41C8-A166-B05C33FACA3F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F907A6A5-135D-486F-8CD8-AD007F53933E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14">
            <a:extLst>
              <a:ext uri="{FF2B5EF4-FFF2-40B4-BE49-F238E27FC236}">
                <a16:creationId xmlns:a16="http://schemas.microsoft.com/office/drawing/2014/main" id="{BD993748-350A-4B3A-8994-1F6830086FAB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18">
            <a:extLst>
              <a:ext uri="{FF2B5EF4-FFF2-40B4-BE49-F238E27FC236}">
                <a16:creationId xmlns:a16="http://schemas.microsoft.com/office/drawing/2014/main" id="{E1062A76-42FE-40EC-975C-6F2C550381BD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CC8B3A37-4532-42DF-997A-0335B9BF0F76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32FA1A8-3D2B-4A19-9DE4-14F8B6EC9E62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058A467-BCB2-4E22-A05B-CAC47B5F6BB5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9" name="Rechteck 20">
            <a:extLst>
              <a:ext uri="{FF2B5EF4-FFF2-40B4-BE49-F238E27FC236}">
                <a16:creationId xmlns:a16="http://schemas.microsoft.com/office/drawing/2014/main" id="{567636DE-0C9D-4F34-97F5-A0357B36536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150223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96BE2AE6-5073-4D8D-8DFE-21F3026B64A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79845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B0EF3392-E31D-4B54-9713-53F8A8B89E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7193CF5-2A1F-4AC8-A008-BA67657374B4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4D100638-9B28-4747-BB92-1EE18FEA25C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D1F9138D-C432-4781-931E-1D99B97F0D55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01D4D36-45B6-40E2-AA6A-8BD09B0170C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18D8ABF-87BC-4A97-B69E-EADD2E5C0AC7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D1165561-033C-48D7-8C65-C5EC59DC54F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0670AD24-09C3-41A8-ADF3-AD1244A3DBB2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464F4F-9EBB-40C3-8824-B620289F2A5A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57D61752-BFD4-4C77-AB0D-B45F1A14FC53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248453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07/12/2021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D6D4AAFF-D2B4-4DE0-8D27-37E521D656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5086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61E6179-32AE-48CF-BDF1-FE41469F28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0396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AFD7F4E-C867-4CC4-8027-BF3C87D4A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45707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40B4B7F-FA24-4155-8088-CA67C471CF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41017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699643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1799">
          <p15:clr>
            <a:srgbClr val="FBAE40"/>
          </p15:clr>
        </p15:guide>
        <p15:guide id="6" pos="2207">
          <p15:clr>
            <a:srgbClr val="FBAE40"/>
          </p15:clr>
        </p15:guide>
        <p15:guide id="7" pos="3659">
          <p15:clr>
            <a:srgbClr val="FBAE40"/>
          </p15:clr>
        </p15:guide>
        <p15:guide id="8" pos="4067">
          <p15:clr>
            <a:srgbClr val="FBAE40"/>
          </p15:clr>
        </p15:guide>
        <p15:guide id="9" pos="5518">
          <p15:clr>
            <a:srgbClr val="FBAE40"/>
          </p15:clr>
        </p15:guide>
        <p15:guide id="10" pos="592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23">
            <a:extLst>
              <a:ext uri="{FF2B5EF4-FFF2-40B4-BE49-F238E27FC236}">
                <a16:creationId xmlns:a16="http://schemas.microsoft.com/office/drawing/2014/main" id="{2240A0EA-9681-4032-91F4-BB12E6BE1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465584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4545124 h 6858000"/>
              <a:gd name="connsiteX8" fmla="*/ 11712574 w 12191999"/>
              <a:gd name="connsiteY8" fmla="*/ 454512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373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4655840" y="0"/>
                </a:lnTo>
                <a:lnTo>
                  <a:pt x="8112222" y="0"/>
                </a:lnTo>
                <a:lnTo>
                  <a:pt x="8112222" y="4545124"/>
                </a:lnTo>
                <a:lnTo>
                  <a:pt x="11712574" y="454512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37321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621998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264" y="383414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34BD5DD-0628-4A37-A782-F971F15DECA1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AC46D0C-8FE9-4625-A839-10E6D6C86706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FDFE0449-24D6-458E-808D-262D8CAF49AB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13EBD44B-451B-4372-95E9-FA8EA783702D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2A8444DB-5352-4BD9-BE2F-D4B571E53916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85669543-7B80-4184-8230-3611CD61BD6C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2EF804B-FA8A-488F-AA56-B7A8AECC2F8D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CF06136C-5597-4C51-B57D-1A44626B8BAF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E7227D6-F278-4B7D-956D-5CC722B28456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A394185C-D321-44A7-8DF9-D62F0232984B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242664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3442D92-D3EF-46AE-9912-0649F186F5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295800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8112222 w 12191999"/>
              <a:gd name="connsiteY7" fmla="*/ 0 h 6858000"/>
              <a:gd name="connsiteX8" fmla="*/ 8112222 w 12191999"/>
              <a:gd name="connsiteY8" fmla="*/ 4005064 h 6858000"/>
              <a:gd name="connsiteX9" fmla="*/ 11712574 w 12191999"/>
              <a:gd name="connsiteY9" fmla="*/ 4005064 h 6858000"/>
              <a:gd name="connsiteX10" fmla="*/ 1171257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295800" y="0"/>
                </a:lnTo>
                <a:lnTo>
                  <a:pt x="4330863" y="0"/>
                </a:lnTo>
                <a:lnTo>
                  <a:pt x="4547828" y="0"/>
                </a:lnTo>
                <a:lnTo>
                  <a:pt x="8112222" y="0"/>
                </a:lnTo>
                <a:lnTo>
                  <a:pt x="8112222" y="4005064"/>
                </a:lnTo>
                <a:lnTo>
                  <a:pt x="11712574" y="400506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264" y="329408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235F4D9E-126D-489E-8AC8-118EAF145812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E76493F2-24AC-4D93-B9B4-8A597BE4B9D7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B069D321-B0F2-4ADC-AC86-476920783EA8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9FCEEA83-16F7-4EB6-82CB-F33172F9E135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5FEB54BB-53EC-429A-975C-549373B94D0F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5E877814-18E9-4689-9555-230AFCA425F1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F2408DA-833E-4E45-B4A5-CE21DB5755B5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AFC713B-E1A9-4470-B16D-F7D0F81355C5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E836B7F-DFE2-48BA-93FF-6382536E2128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F2DEE883-BF02-465A-BFDB-68FC42F0A09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042361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88848E1-450B-4298-9AFC-A297C0AECD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330863 w 12191999"/>
              <a:gd name="connsiteY4" fmla="*/ 0 h 6858000"/>
              <a:gd name="connsiteX5" fmla="*/ 4439816 w 12191999"/>
              <a:gd name="connsiteY5" fmla="*/ 0 h 6858000"/>
              <a:gd name="connsiteX6" fmla="*/ 4547828 w 12191999"/>
              <a:gd name="connsiteY6" fmla="*/ 0 h 6858000"/>
              <a:gd name="connsiteX7" fmla="*/ 8111703 w 12191999"/>
              <a:gd name="connsiteY7" fmla="*/ 0 h 6858000"/>
              <a:gd name="connsiteX8" fmla="*/ 8111703 w 12191999"/>
              <a:gd name="connsiteY8" fmla="*/ 3456000 h 6858000"/>
              <a:gd name="connsiteX9" fmla="*/ 11712624 w 12191999"/>
              <a:gd name="connsiteY9" fmla="*/ 3456000 h 6858000"/>
              <a:gd name="connsiteX10" fmla="*/ 1171262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439816" y="0"/>
                </a:lnTo>
                <a:lnTo>
                  <a:pt x="4547828" y="0"/>
                </a:lnTo>
                <a:lnTo>
                  <a:pt x="8111703" y="0"/>
                </a:lnTo>
                <a:lnTo>
                  <a:pt x="8111703" y="3456000"/>
                </a:lnTo>
                <a:lnTo>
                  <a:pt x="11712624" y="3456000"/>
                </a:lnTo>
                <a:lnTo>
                  <a:pt x="1171262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1744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1703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1744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1743" y="2754020"/>
            <a:ext cx="2757844" cy="342000"/>
          </a:xfrm>
          <a:prstGeom prst="rect">
            <a:avLst/>
          </a:prstGeom>
        </p:spPr>
      </p:pic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3943B4F-2B93-4CDB-A3AC-37872FCF597D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0B22129-5E3F-4587-B814-A00E0F459064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A30C8BC9-5206-47FF-864B-05A01A1E09CD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D1E5D76-9B7F-4A3A-8645-E897846BCFC7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233AB4A8-DFE8-4704-B449-DBC90FFEFC4C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138AB292-2171-4F79-8535-B518F8B3B0B2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7AB4B421-B02F-40D8-8647-D3C04BC3F021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3DCFBF08-EC08-421F-8C9F-A362C25BC550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8F19AE8-31C3-4CF7-9765-3906A43178FF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7" name="Rechteck 20">
            <a:extLst>
              <a:ext uri="{FF2B5EF4-FFF2-40B4-BE49-F238E27FC236}">
                <a16:creationId xmlns:a16="http://schemas.microsoft.com/office/drawing/2014/main" id="{16ADD000-80B1-4BF2-AD83-91B0D313F393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775963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 </a:t>
            </a:r>
            <a:br>
              <a:rPr lang="en-GB" dirty="0"/>
            </a:br>
            <a:r>
              <a:rPr lang="en-GB" dirty="0"/>
              <a:t>in Arial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4383208"/>
            <a:ext cx="2757844" cy="342000"/>
          </a:xfrm>
          <a:prstGeom prst="rect">
            <a:avLst/>
          </a:prstGeom>
        </p:spPr>
      </p:pic>
      <p:sp>
        <p:nvSpPr>
          <p:cNvPr id="20" name="Rechteck 1">
            <a:extLst>
              <a:ext uri="{FF2B5EF4-FFF2-40B4-BE49-F238E27FC236}">
                <a16:creationId xmlns:a16="http://schemas.microsoft.com/office/drawing/2014/main" id="{D7DE248F-2823-4B30-97A7-5E5A3E614553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25D1DC-0638-4FC1-B62D-103D9E45918A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3D7E8613-14D0-43FA-B4A2-C12F97BF1900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6BB7661D-A83D-4CF3-BE9D-73ADB203DC2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45AC564-649F-4FB3-A72B-CC01BB9063F8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5D41728E-8CF7-4DAC-B786-227EB1BAD583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60783C2C-4B89-458A-A592-BBA39A05949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D5F8176-458E-4605-90AE-255473F5E976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828E34CD-5263-4251-B0E0-445235533E90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22662C9-B00F-4400-828D-06F0654BBA0E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1911533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F7BF7CA0-E960-4EB3-8210-8583F337BF60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xmlns:p15="http://schemas.microsoft.com/office/powerpoint/2012/main" xmlns:p14="http://schemas.microsoft.com/office/powerpoint/2010/main" xmlns:a16="http://schemas.microsoft.com/office/drawing/2014/main" xmlns="" r:embed="rId55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1700213"/>
            <a:ext cx="11161712" cy="43930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grpSp>
        <p:nvGrpSpPr>
          <p:cNvPr id="21" name="Gruppieren 20"/>
          <p:cNvGrpSpPr/>
          <p:nvPr/>
        </p:nvGrpSpPr>
        <p:grpSpPr bwMode="gray">
          <a:xfrm>
            <a:off x="551384" y="-171400"/>
            <a:ext cx="11161240" cy="72000"/>
            <a:chOff x="551384" y="-243408"/>
            <a:chExt cx="11161240" cy="216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55138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-168688" y="1700808"/>
            <a:ext cx="72000" cy="4392488"/>
            <a:chOff x="-456728" y="1700808"/>
            <a:chExt cx="216000" cy="4392488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9329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F25931F7-C9B2-4AEF-8949-B2C57347550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84352" y="6550324"/>
            <a:ext cx="792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BF76663-E215-40A1-B199-579C8AB47B20}" type="datetime1">
              <a:rPr lang="en-GB"/>
              <a:t>07/12/2021</a:t>
            </a:fld>
            <a:endParaRPr lang="en-GB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9D1E47E8-758C-4E0E-9F77-C5BF4B3F8E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884396" y="6550324"/>
            <a:ext cx="7704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BAF09DF7-FEB4-4BF3-8619-FCE74C4EA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864" y="6550324"/>
            <a:ext cx="288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5A7FA6-661C-4F00-B171-7CC9C2CCE8DB}"/>
              </a:ext>
            </a:extLst>
          </p:cNvPr>
          <p:cNvCxnSpPr/>
          <p:nvPr/>
        </p:nvCxnSpPr>
        <p:spPr bwMode="gray">
          <a:xfrm>
            <a:off x="6455817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614D05-FE86-44C3-B30B-4ED71C82B2D4}"/>
              </a:ext>
            </a:extLst>
          </p:cNvPr>
          <p:cNvCxnSpPr/>
          <p:nvPr/>
        </p:nvCxnSpPr>
        <p:spPr bwMode="gray">
          <a:xfrm>
            <a:off x="5807968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DD2D862-F12D-4CEE-84FD-3A9AC4B6E5B6}"/>
              </a:ext>
            </a:extLst>
          </p:cNvPr>
          <p:cNvGrpSpPr/>
          <p:nvPr/>
        </p:nvGrpSpPr>
        <p:grpSpPr bwMode="gray">
          <a:xfrm>
            <a:off x="3863975" y="-171400"/>
            <a:ext cx="4536281" cy="72000"/>
            <a:chOff x="3863975" y="-171400"/>
            <a:chExt cx="4536281" cy="72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7BECE16-269D-4E9A-9B84-7F60B4AE0CB1}"/>
                </a:ext>
              </a:extLst>
            </p:cNvPr>
            <p:cNvCxnSpPr/>
            <p:nvPr userDrawn="1"/>
          </p:nvCxnSpPr>
          <p:spPr bwMode="gray">
            <a:xfrm>
              <a:off x="8400256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3FA7C3C-7FA6-4CDB-9805-4175F140B416}"/>
                </a:ext>
              </a:extLst>
            </p:cNvPr>
            <p:cNvCxnSpPr/>
            <p:nvPr userDrawn="1"/>
          </p:nvCxnSpPr>
          <p:spPr bwMode="gray">
            <a:xfrm>
              <a:off x="7752407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24105D3-4A85-43F3-BAE6-78D2008211EF}"/>
                </a:ext>
              </a:extLst>
            </p:cNvPr>
            <p:cNvCxnSpPr/>
            <p:nvPr userDrawn="1"/>
          </p:nvCxnSpPr>
          <p:spPr bwMode="gray">
            <a:xfrm>
              <a:off x="4511824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C51D5BD-3B24-442C-9575-E3C237E12149}"/>
                </a:ext>
              </a:extLst>
            </p:cNvPr>
            <p:cNvCxnSpPr/>
            <p:nvPr userDrawn="1"/>
          </p:nvCxnSpPr>
          <p:spPr bwMode="gray">
            <a:xfrm>
              <a:off x="3863975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D09599-A722-421B-B985-21F90F2F366E}"/>
              </a:ext>
            </a:extLst>
          </p:cNvPr>
          <p:cNvGrpSpPr/>
          <p:nvPr/>
        </p:nvGrpSpPr>
        <p:grpSpPr bwMode="gray">
          <a:xfrm>
            <a:off x="2855640" y="-171392"/>
            <a:ext cx="6552728" cy="72000"/>
            <a:chOff x="2855640" y="-171392"/>
            <a:chExt cx="6552728" cy="7200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F91E64-D9CA-4E5C-8F94-5DA5E114B04B}"/>
                </a:ext>
              </a:extLst>
            </p:cNvPr>
            <p:cNvCxnSpPr/>
            <p:nvPr userDrawn="1"/>
          </p:nvCxnSpPr>
          <p:spPr bwMode="gray">
            <a:xfrm>
              <a:off x="9408368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1206C0-5549-4016-B972-40D54A316047}"/>
                </a:ext>
              </a:extLst>
            </p:cNvPr>
            <p:cNvCxnSpPr/>
            <p:nvPr userDrawn="1"/>
          </p:nvCxnSpPr>
          <p:spPr bwMode="gray">
            <a:xfrm>
              <a:off x="876051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EB6A447-3F4D-44F0-A383-F28EB320251F}"/>
                </a:ext>
              </a:extLst>
            </p:cNvPr>
            <p:cNvCxnSpPr/>
            <p:nvPr userDrawn="1"/>
          </p:nvCxnSpPr>
          <p:spPr bwMode="gray">
            <a:xfrm>
              <a:off x="350348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A8EE856-A375-49AE-9A88-BFE45857E99C}"/>
                </a:ext>
              </a:extLst>
            </p:cNvPr>
            <p:cNvCxnSpPr/>
            <p:nvPr userDrawn="1"/>
          </p:nvCxnSpPr>
          <p:spPr bwMode="gray">
            <a:xfrm>
              <a:off x="2855640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empower - DO NOT DELETE!!!" hidden="1"/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57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2400"/>
        </a:spcBef>
        <a:spcAft>
          <a:spcPts val="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5" name="Subtitle 2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749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048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39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93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75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57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50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38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74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630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226404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267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07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00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86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Media Placeholder 9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457419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Media Placeholder 11"/>
          <p:cNvSpPr>
            <a:spLocks noGrp="1"/>
          </p:cNvSpPr>
          <p:nvPr>
            <p:ph type="media" sz="quarter" idx="20"/>
          </p:nvPr>
        </p:nvSpPr>
        <p:spPr/>
      </p:sp>
    </p:spTree>
    <p:extLst>
      <p:ext uri="{BB962C8B-B14F-4D97-AF65-F5344CB8AC3E}">
        <p14:creationId xmlns:p14="http://schemas.microsoft.com/office/powerpoint/2010/main" val="94453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Media Placeholder 11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171220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Media Placeholder 10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08442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63927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966972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46668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77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Media Placeholder 4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97028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20"/>
          </p:nvPr>
        </p:nvSpPr>
        <p:spPr/>
      </p:sp>
      <p:sp>
        <p:nvSpPr>
          <p:cNvPr id="4" name="Media Placeholder 3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704069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20"/>
          </p:nvPr>
        </p:nvSpPr>
        <p:spPr/>
      </p:sp>
      <p:sp>
        <p:nvSpPr>
          <p:cNvPr id="4" name="Media Placeholder 3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94994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47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312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88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177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43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69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23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55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91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774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7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2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534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45352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1757378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274980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986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57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166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Media Placeholder 8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3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71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97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456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13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5ec8568-c555-484d-a81c-be1f256855aa"/>
  <p:tag name="MIO_UPDATE" val="True"/>
  <p:tag name="MIO_VERSION" val="03.12.2021 14:57:09"/>
  <p:tag name="MIO_DBID" val="D2ADB5CE-4791-4BD6-A5B0-2150AF1FFAC7"/>
  <p:tag name="MIO_LASTDOWNLOADED" val="07.12.2021 15:04:08.170"/>
  <p:tag name="MIO_OBJECTNAME" val="New Master Corporate"/>
  <p:tag name="MIO_CDID" val="6bcddaaa-6f17-44f5-a88a-5e31afd6f172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True"/>
  <p:tag name="MIO_MATCH_COLOR_SCHEME" val="True"/>
  <p:tag name="MIO_NUMBER_OF_VALID_LAYOUTS" val="51"/>
</p:tagLst>
</file>

<file path=ppt/theme/theme1.xml><?xml version="1.0" encoding="utf-8"?>
<a:theme xmlns:a="http://schemas.openxmlformats.org/drawingml/2006/main" name="LIEBHERR">
  <a:themeElements>
    <a:clrScheme name="Liebherr final">
      <a:dk1>
        <a:srgbClr val="000000"/>
      </a:dk1>
      <a:lt1>
        <a:srgbClr val="FFFFFF"/>
      </a:lt1>
      <a:dk2>
        <a:srgbClr val="003057"/>
      </a:dk2>
      <a:lt2>
        <a:srgbClr val="FFD000"/>
      </a:lt2>
      <a:accent1>
        <a:srgbClr val="E5E8ED"/>
      </a:accent1>
      <a:accent2>
        <a:srgbClr val="BDC4CA"/>
      </a:accent2>
      <a:accent3>
        <a:srgbClr val="888E94"/>
      </a:accent3>
      <a:accent4>
        <a:srgbClr val="6B7278"/>
      </a:accent4>
      <a:accent5>
        <a:srgbClr val="51585D"/>
      </a:accent5>
      <a:accent6>
        <a:srgbClr val="3A4046"/>
      </a:accent6>
      <a:hlink>
        <a:srgbClr val="3A4046"/>
      </a:hlink>
      <a:folHlink>
        <a:srgbClr val="3A4046"/>
      </a:folHlink>
    </a:clrScheme>
    <a:fontScheme name="Liebherr Head Office Black | Text Office">
      <a:majorFont>
        <a:latin typeface="Liebherr Head Office"/>
        <a:ea typeface=""/>
        <a:cs typeface=""/>
      </a:majorFont>
      <a:minorFont>
        <a:latin typeface="Liebherr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lIns="108000" tIns="108000" rIns="108000" bIns="108000" rtlCol="0" anchor="ctr"/>
      <a:lstStyle>
        <a:defPPr algn="ctr">
          <a:lnSpc>
            <a:spcPct val="120000"/>
          </a:lnSpc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 marL="216000" indent="-216000" algn="l">
          <a:lnSpc>
            <a:spcPct val="120000"/>
          </a:lnSpc>
          <a:spcBef>
            <a:spcPts val="600"/>
          </a:spcBef>
          <a:buFont typeface="Arial" panose="020B0604020202020204" pitchFamily="34" charset="0"/>
          <a:buChar char="–"/>
          <a:defRPr dirty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uccess">
      <a:srgbClr val="43A017"/>
    </a:custClr>
    <a:custClr name="Success Light">
      <a:srgbClr val="73D95F"/>
    </a:custClr>
    <a:custClr name="Warning Light">
      <a:srgbClr val="FF7070"/>
    </a:custClr>
    <a:custClr name="Warning">
      <a:srgbClr val="E52828"/>
    </a:custClr>
    <a:custClr name="Steel 10">
      <a:srgbClr val="F0F3F6"/>
    </a:custClr>
    <a:custClr name="Steel 20">
      <a:srgbClr val="E5E8ED"/>
    </a:custClr>
    <a:custClr name="Steel 30">
      <a:srgbClr val="D3D8DD"/>
    </a:custClr>
    <a:custClr name="Steel 40">
      <a:srgbClr val="BDC4CA"/>
    </a:custClr>
    <a:custClr name="Steel 50">
      <a:srgbClr val="9EA4AB"/>
    </a:custClr>
    <a:custClr name="Steel 60">
      <a:srgbClr val="888E94"/>
    </a:custClr>
    <a:custClr name="Steel 70">
      <a:srgbClr val="6B7278"/>
    </a:custClr>
    <a:custClr name="Steel 80">
      <a:srgbClr val="51585D"/>
    </a:custClr>
    <a:custClr name="Steel 90">
      <a:srgbClr val="3A4046"/>
    </a:custClr>
    <a:custClr name="Liebherr Black">
      <a:srgbClr val="1A1919"/>
    </a:custClr>
    <a:custClr name="Clay Light">
      <a:srgbClr val="F89939"/>
    </a:custClr>
    <a:custClr name="Slate Light">
      <a:srgbClr val="8BB2C2"/>
    </a:custClr>
    <a:custClr name="Terra Light">
      <a:srgbClr val="D1B795"/>
    </a:custClr>
    <a:custClr name="Leaf Light">
      <a:srgbClr val="5DBF90"/>
    </a:custClr>
    <a:custClr name="Ruby Light">
      <a:srgbClr val="F56E7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">
      <a:srgbClr val="EB6F24"/>
    </a:custClr>
    <a:custClr name="Slate">
      <a:srgbClr val="5789A4"/>
    </a:custClr>
    <a:custClr name="Terra">
      <a:srgbClr val="AA8D6D"/>
    </a:custClr>
    <a:custClr name="Leaf">
      <a:srgbClr val="2EA675"/>
    </a:custClr>
    <a:custClr name="Ruby">
      <a:srgbClr val="E3485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 Dark">
      <a:srgbClr val="AF542E"/>
    </a:custClr>
    <a:custClr name="Slate Dark">
      <a:srgbClr val="3B6579"/>
    </a:custClr>
    <a:custClr name="Terra Dark">
      <a:srgbClr val="846554"/>
    </a:custClr>
    <a:custClr name="Leaf Dark">
      <a:srgbClr val="33825E"/>
    </a:custClr>
    <a:custClr name="Ruby Dark">
      <a:srgbClr val="AD0B3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ebherr PowerPoint master slides_Customizing.potx" id="{5F00CEE7-861A-4B4E-A0CD-7ACCDF6D57B4}" vid="{32BC0082-7953-4148-8A0E-CF892D39575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5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5" baseType="lpstr">
      <vt:lpstr>Arial</vt:lpstr>
      <vt:lpstr>Liebherr Head Office</vt:lpstr>
      <vt:lpstr>Liebherr Text Office</vt:lpstr>
      <vt:lpstr>LIEBHER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iebher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ppelau Vera (LHO)</dc:creator>
  <cp:lastModifiedBy>Pappelau Vera (LHO)</cp:lastModifiedBy>
  <cp:revision>4</cp:revision>
  <dcterms:created xsi:type="dcterms:W3CDTF">2021-12-07T14:04:15Z</dcterms:created>
  <dcterms:modified xsi:type="dcterms:W3CDTF">2021-12-07T15:17:29Z</dcterms:modified>
</cp:coreProperties>
</file>